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398" r:id="rId7"/>
  </p:sldIdLst>
  <p:sldSz cx="12192000" cy="6858000"/>
  <p:notesSz cx="7104063" cy="10234613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444444"/>
    <a:srgbClr val="EB0000"/>
    <a:srgbClr val="727272"/>
    <a:srgbClr val="BDBDBD"/>
    <a:srgbClr val="E5E5E5"/>
    <a:srgbClr val="D9D9D9"/>
    <a:srgbClr val="C60018"/>
    <a:srgbClr val="A20013"/>
    <a:srgbClr val="A8A8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08:22:24.729" v="29" actId="27918"/>
      <pc:docMkLst>
        <pc:docMk/>
      </pc:docMkLst>
      <pc:sldChg chg="modSp mod">
        <pc:chgData name="Weigel Stefan (PAR-EPS)" userId="fd3b2067-2981-4ad8-bf3a-d2e1004e4fa8" providerId="ADAL" clId="{A4CFA2F4-FF8D-446B-B271-6DF568DBEADA}" dt="2026-02-12T08:22:24.729" v="29" actId="27918"/>
        <pc:sldMkLst>
          <pc:docMk/>
          <pc:sldMk cId="2131180641" sldId="398"/>
        </pc:sldMkLst>
        <pc:spChg chg="mod">
          <ac:chgData name="Weigel Stefan (PAR-EPS)" userId="fd3b2067-2981-4ad8-bf3a-d2e1004e4fa8" providerId="ADAL" clId="{A4CFA2F4-FF8D-446B-B271-6DF568DBEADA}" dt="2026-01-14T13:57:06.410" v="1" actId="20577"/>
          <ac:spMkLst>
            <pc:docMk/>
            <pc:sldMk cId="2131180641" sldId="398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A4CFA2F4-FF8D-446B-B271-6DF568DBEADA}" dt="2026-01-14T13:58:03.977" v="21" actId="20577"/>
          <ac:spMkLst>
            <pc:docMk/>
            <pc:sldMk cId="2131180641" sldId="398"/>
            <ac:spMk id="11" creationId="{84F82B92-ACCD-41AC-8B9B-F49F946956E6}"/>
          </ac:spMkLst>
        </pc:spChg>
        <pc:graphicFrameChg chg="mod">
          <ac:chgData name="Weigel Stefan (PAR-EPS)" userId="fd3b2067-2981-4ad8-bf3a-d2e1004e4fa8" providerId="ADAL" clId="{A4CFA2F4-FF8D-446B-B271-6DF568DBEADA}" dt="2026-01-14T13:58:14.938" v="22" actId="207"/>
          <ac:graphicFrameMkLst>
            <pc:docMk/>
            <pc:sldMk cId="2131180641" sldId="398"/>
            <ac:graphicFrameMk id="8" creationId="{6973129B-3766-41C3-BD0F-FBF7F523AB4F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971205459462246"/>
          <c:y val="8.0785241351003956E-2"/>
          <c:w val="0.78148328772027853"/>
          <c:h val="0.7640616527872287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H$2</c:f>
              <c:strCache>
                <c:ptCount val="1"/>
                <c:pt idx="0">
                  <c:v>Schweiz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1C15-44C7-B782-A061291EEFA2}"/>
              </c:ext>
            </c:extLst>
          </c:dPt>
          <c:cat>
            <c:strRef>
              <c:f>data!$G$3:$G$10</c:f>
              <c:strCache>
                <c:ptCount val="8"/>
                <c:pt idx="0">
                  <c:v>Energie und Energieanlagen</c:v>
                </c:pt>
                <c:pt idx="1">
                  <c:v>Nicht zugeordnet</c:v>
                </c:pt>
                <c:pt idx="2">
                  <c:v>Hochbau</c:v>
                </c:pt>
                <c:pt idx="3">
                  <c:v>ICT &amp; Material</c:v>
                </c:pt>
                <c:pt idx="4">
                  <c:v>Anlagen</c:v>
                </c:pt>
                <c:pt idx="5">
                  <c:v>Fahrzeuge</c:v>
                </c:pt>
                <c:pt idx="6">
                  <c:v>Dienstleistungen</c:v>
                </c:pt>
                <c:pt idx="7">
                  <c:v>Tiefbau</c:v>
                </c:pt>
              </c:strCache>
            </c:strRef>
          </c:cat>
          <c:val>
            <c:numRef>
              <c:f>data!$H$3:$H$10</c:f>
              <c:numCache>
                <c:formatCode>#,##0.00</c:formatCode>
                <c:ptCount val="8"/>
                <c:pt idx="0">
                  <c:v>9.0497456700000006E-2</c:v>
                </c:pt>
                <c:pt idx="1">
                  <c:v>0.37461022549999901</c:v>
                </c:pt>
                <c:pt idx="2">
                  <c:v>0.48355628087999997</c:v>
                </c:pt>
                <c:pt idx="3">
                  <c:v>0.58181611321000004</c:v>
                </c:pt>
                <c:pt idx="4">
                  <c:v>0.73910824021999899</c:v>
                </c:pt>
                <c:pt idx="5">
                  <c:v>0.79013826178000002</c:v>
                </c:pt>
                <c:pt idx="6">
                  <c:v>1.0682132013700001</c:v>
                </c:pt>
                <c:pt idx="7">
                  <c:v>1.55570201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C15-44C7-B782-A061291EEFA2}"/>
            </c:ext>
          </c:extLst>
        </c:ser>
        <c:ser>
          <c:idx val="1"/>
          <c:order val="1"/>
          <c:tx>
            <c:strRef>
              <c:f>data!$I$2</c:f>
              <c:strCache>
                <c:ptCount val="1"/>
                <c:pt idx="0">
                  <c:v>Ausland</c:v>
                </c:pt>
              </c:strCache>
            </c:strRef>
          </c:tx>
          <c:spPr>
            <a:solidFill>
              <a:schemeClr val="accent6">
                <a:lumMod val="50000"/>
              </a:schemeClr>
            </a:solidFill>
            <a:ln>
              <a:noFill/>
            </a:ln>
          </c:spPr>
          <c:invertIfNegative val="0"/>
          <c:cat>
            <c:strRef>
              <c:f>data!$G$3:$G$10</c:f>
              <c:strCache>
                <c:ptCount val="8"/>
                <c:pt idx="0">
                  <c:v>Energie und Energieanlagen</c:v>
                </c:pt>
                <c:pt idx="1">
                  <c:v>Nicht zugeordnet</c:v>
                </c:pt>
                <c:pt idx="2">
                  <c:v>Hochbau</c:v>
                </c:pt>
                <c:pt idx="3">
                  <c:v>ICT &amp; Material</c:v>
                </c:pt>
                <c:pt idx="4">
                  <c:v>Anlagen</c:v>
                </c:pt>
                <c:pt idx="5">
                  <c:v>Fahrzeuge</c:v>
                </c:pt>
                <c:pt idx="6">
                  <c:v>Dienstleistungen</c:v>
                </c:pt>
                <c:pt idx="7">
                  <c:v>Tiefbau</c:v>
                </c:pt>
              </c:strCache>
            </c:strRef>
          </c:cat>
          <c:val>
            <c:numRef>
              <c:f>data!$I$3:$I$10</c:f>
              <c:numCache>
                <c:formatCode>#,##0.00</c:formatCode>
                <c:ptCount val="8"/>
                <c:pt idx="0">
                  <c:v>1.2735279280000001E-2</c:v>
                </c:pt>
                <c:pt idx="1">
                  <c:v>2.2372274720000002E-2</c:v>
                </c:pt>
                <c:pt idx="2">
                  <c:v>1.21539961E-3</c:v>
                </c:pt>
                <c:pt idx="3">
                  <c:v>7.6366637209999991E-2</c:v>
                </c:pt>
                <c:pt idx="4">
                  <c:v>0.21131391513</c:v>
                </c:pt>
                <c:pt idx="5">
                  <c:v>0.18640991085</c:v>
                </c:pt>
                <c:pt idx="6">
                  <c:v>9.8588534929999999E-2</c:v>
                </c:pt>
                <c:pt idx="7">
                  <c:v>9.1798651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C15-44C7-B782-A061291EEF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124205696"/>
        <c:axId val="124203776"/>
      </c:barChart>
      <c:valAx>
        <c:axId val="124203776"/>
        <c:scaling>
          <c:orientation val="minMax"/>
          <c:max val="2"/>
          <c:min val="0"/>
        </c:scaling>
        <c:delete val="0"/>
        <c:axPos val="b"/>
        <c:majorGridlines>
          <c:spPr>
            <a:ln>
              <a:solidFill>
                <a:schemeClr val="accent5"/>
              </a:solidFill>
            </a:ln>
          </c:spPr>
        </c:majorGridlines>
        <c:numFmt formatCode="0.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124205696"/>
        <c:crosses val="autoZero"/>
        <c:crossBetween val="between"/>
        <c:majorUnit val="0.5"/>
      </c:valAx>
      <c:catAx>
        <c:axId val="1242056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>
            <a:solidFill>
              <a:schemeClr val="tx2"/>
            </a:solidFill>
          </a:ln>
        </c:spPr>
        <c:txPr>
          <a:bodyPr rot="0" vert="horz" anchor="ctr" anchorCtr="1"/>
          <a:lstStyle/>
          <a:p>
            <a:pPr algn="just"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124203776"/>
        <c:crosses val="autoZero"/>
        <c:auto val="0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0.28284820752900203"/>
          <c:y val="0.92670641478457172"/>
          <c:w val="0.28898822757751641"/>
          <c:h val="4.5279788943638502E-2"/>
        </c:manualLayout>
      </c:layout>
      <c:overlay val="0"/>
      <c:txPr>
        <a:bodyPr/>
        <a:lstStyle/>
        <a:p>
          <a:pPr>
            <a:defRPr sz="1100">
              <a:solidFill>
                <a:schemeClr val="tx2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92759</cdr:x>
      <cdr:y>0</cdr:y>
    </cdr:from>
    <cdr:to>
      <cdr:x>1</cdr:x>
      <cdr:y>0.05227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8549619" y="0"/>
          <a:ext cx="667405" cy="24196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CH" sz="1100" dirty="0"/>
            <a:t>Mrd. CHF</a:t>
          </a:r>
          <a:endParaRPr lang="de-CH" sz="110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D26404-58E8-4486-905C-9BBBD7B83F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29980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Die Objektfolie. </a:t>
            </a:r>
            <a:br>
              <a:rPr lang="de-CH"/>
            </a:br>
            <a:r>
              <a:rPr lang="de-CH"/>
              <a:t>Titel bitte maximal zweizeilig.</a:t>
            </a:r>
            <a:endParaRPr lang="de-CH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441158"/>
          </a:xfrm>
        </p:spPr>
        <p:txBody>
          <a:bodyPr/>
          <a:lstStyle/>
          <a:p>
            <a:r>
              <a:rPr lang="de-CH" dirty="0"/>
              <a:t>Die SBB als Auftraggeberin im 2025.</a:t>
            </a:r>
            <a:br>
              <a:rPr lang="de-CH" dirty="0"/>
            </a:br>
            <a:endParaRPr lang="de-CH" sz="1400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CE60A944-7104-442D-B06A-85C825613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algn="r"/>
            <a:r>
              <a:rPr lang="de-CH" sz="1100" kern="0" spc="0" dirty="0"/>
              <a:t>reporting.sbb.ch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6973129B-3766-41C3-BD0F-FBF7F523AB4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95108276"/>
              </p:ext>
            </p:extLst>
          </p:nvPr>
        </p:nvGraphicFramePr>
        <p:xfrm>
          <a:off x="1487488" y="1247776"/>
          <a:ext cx="9217025" cy="4629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84F82B92-ACCD-41AC-8B9B-F49F946956E6}"/>
              </a:ext>
            </a:extLst>
          </p:cNvPr>
          <p:cNvSpPr txBox="1"/>
          <p:nvPr/>
        </p:nvSpPr>
        <p:spPr>
          <a:xfrm>
            <a:off x="1487487" y="6092825"/>
            <a:ext cx="9217025" cy="578428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de-CH" sz="1100" dirty="0">
                <a:solidFill>
                  <a:schemeClr val="tx2"/>
                </a:solidFill>
                <a:latin typeface="+mj-lt"/>
                <a:cs typeface="Arial" pitchFamily="34" charset="0"/>
              </a:rPr>
              <a:t>Einkaufsvolumen von total 6,38 Milliarden Franken, wovon 89% an Lieferanten mit Sitz in der Schweiz vergeben wurden. 14 627 Lieferanten, davon 91% mit Sitz in der Schweiz. (Berücksichtigt nur Rechnungssteller mit einem Einkaufsvolumen über 2000 Franken im Jahr 2025.)</a:t>
            </a:r>
          </a:p>
        </p:txBody>
      </p:sp>
      <p:sp>
        <p:nvSpPr>
          <p:cNvPr id="3" name="Metadata">
            <a:extLst>
              <a:ext uri="{FF2B5EF4-FFF2-40B4-BE49-F238E27FC236}">
                <a16:creationId xmlns:a16="http://schemas.microsoft.com/office/drawing/2014/main" id="{3CE2534E-B1A7-A9E6-615D-864B28F50FD4}"/>
              </a:ext>
            </a:extLst>
          </p:cNvPr>
          <p:cNvSpPr/>
          <p:nvPr/>
        </p:nvSpPr>
        <p:spPr>
          <a:xfrm>
            <a:off x="12700" y="6540500"/>
            <a:ext cx="3810000" cy="3175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endParaRPr lang="de-CH" sz="800" b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11806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http://schemas.microsoft.com/office/infopath/2007/PartnerControls"/>
    <ds:schemaRef ds:uri="http://purl.org/dc/terms/"/>
    <ds:schemaRef ds:uri="http://schemas.microsoft.com/office/2006/metadata/properties"/>
    <ds:schemaRef ds:uri="http://schemas.openxmlformats.org/package/2006/metadata/core-properties"/>
    <ds:schemaRef ds:uri="http://schemas.microsoft.com/office/2006/documentManagement/types"/>
    <ds:schemaRef ds:uri="96e82a89-ba48-4728-b345-cf206dbec8f1"/>
    <ds:schemaRef ds:uri="2f5c8543-cf23-4718-a3b8-32b0a91d511a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2F6948F7-5D09-45A5-8447-E432F5989A8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77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Die SBB als Auftraggeberin im 2025. 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e SBB als Auftraggeberin im 2024._x000b_</dc:title>
  <dc:creator>Meyer Raphael (KOM-PGA-VSF)</dc:creator>
  <cp:lastModifiedBy>Weigel Stefan (PAR-EPS)</cp:lastModifiedBy>
  <cp:revision>2</cp:revision>
  <cp:lastPrinted>2024-01-31T15:32:42Z</cp:lastPrinted>
  <dcterms:created xsi:type="dcterms:W3CDTF">2020-09-30T11:00:09Z</dcterms:created>
  <dcterms:modified xsi:type="dcterms:W3CDTF">2026-03-03T13:14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